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5"/>
    <p:sldMasterId id="2147483701" r:id="rId6"/>
  </p:sldMasterIdLst>
  <p:notesMasterIdLst>
    <p:notesMasterId r:id="rId13"/>
  </p:notesMasterIdLst>
  <p:sldIdLst>
    <p:sldId id="3808" r:id="rId7"/>
    <p:sldId id="3825" r:id="rId8"/>
    <p:sldId id="3810" r:id="rId9"/>
    <p:sldId id="3823" r:id="rId10"/>
    <p:sldId id="3809" r:id="rId11"/>
    <p:sldId id="3824" r:id="rId1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6FE6DD-2D03-2BB4-73BE-7C1796AB7446}" v="26" dt="2023-08-09T18:09:49.293"/>
    <p1510:client id="{AD5ED947-BEFE-6095-FCDF-D4A473A6090A}" v="521" dt="2023-08-21T18:27:47.645"/>
    <p1510:client id="{BEAF8350-1FB3-773C-BA6F-53B99C29159D}" v="2" dt="2023-08-09T14:07:08.775"/>
  </p1510:revLst>
</p1510:revInfo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ernanda Santos" userId="S::fernanda.santos1@bayer.com::36ef5ae1-25c4-4eb0-a1f2-e7e23142c91e" providerId="AD" clId="Web-{A06FE6DD-2D03-2BB4-73BE-7C1796AB7446}"/>
    <pc:docChg chg="addSld modSld">
      <pc:chgData name="Fernanda Santos" userId="S::fernanda.santos1@bayer.com::36ef5ae1-25c4-4eb0-a1f2-e7e23142c91e" providerId="AD" clId="Web-{A06FE6DD-2D03-2BB4-73BE-7C1796AB7446}" dt="2023-08-09T18:09:49.293" v="22"/>
      <pc:docMkLst>
        <pc:docMk/>
      </pc:docMkLst>
      <pc:sldChg chg="modSp">
        <pc:chgData name="Fernanda Santos" userId="S::fernanda.santos1@bayer.com::36ef5ae1-25c4-4eb0-a1f2-e7e23142c91e" providerId="AD" clId="Web-{A06FE6DD-2D03-2BB4-73BE-7C1796AB7446}" dt="2023-08-09T18:09:08.150" v="12" actId="20577"/>
        <pc:sldMkLst>
          <pc:docMk/>
          <pc:sldMk cId="3186312977" sldId="3810"/>
        </pc:sldMkLst>
        <pc:spChg chg="mod">
          <ac:chgData name="Fernanda Santos" userId="S::fernanda.santos1@bayer.com::36ef5ae1-25c4-4eb0-a1f2-e7e23142c91e" providerId="AD" clId="Web-{A06FE6DD-2D03-2BB4-73BE-7C1796AB7446}" dt="2023-08-09T18:09:08.150" v="12" actId="20577"/>
          <ac:spMkLst>
            <pc:docMk/>
            <pc:sldMk cId="3186312977" sldId="3810"/>
            <ac:spMk id="3" creationId="{01AE3188-A6F2-475B-A692-2E6720B51206}"/>
          </ac:spMkLst>
        </pc:spChg>
      </pc:sldChg>
      <pc:sldChg chg="addSp delSp modSp new">
        <pc:chgData name="Fernanda Santos" userId="S::fernanda.santos1@bayer.com::36ef5ae1-25c4-4eb0-a1f2-e7e23142c91e" providerId="AD" clId="Web-{A06FE6DD-2D03-2BB4-73BE-7C1796AB7446}" dt="2023-08-09T18:09:49.293" v="22"/>
        <pc:sldMkLst>
          <pc:docMk/>
          <pc:sldMk cId="3204939884" sldId="3824"/>
        </pc:sldMkLst>
        <pc:spChg chg="mod">
          <ac:chgData name="Fernanda Santos" userId="S::fernanda.santos1@bayer.com::36ef5ae1-25c4-4eb0-a1f2-e7e23142c91e" providerId="AD" clId="Web-{A06FE6DD-2D03-2BB4-73BE-7C1796AB7446}" dt="2023-08-09T18:09:45.777" v="21" actId="14100"/>
          <ac:spMkLst>
            <pc:docMk/>
            <pc:sldMk cId="3204939884" sldId="3824"/>
            <ac:spMk id="2" creationId="{B500259A-DFB7-1522-E368-FA07FB0D0BED}"/>
          </ac:spMkLst>
        </pc:spChg>
        <pc:spChg chg="del mod">
          <ac:chgData name="Fernanda Santos" userId="S::fernanda.santos1@bayer.com::36ef5ae1-25c4-4eb0-a1f2-e7e23142c91e" providerId="AD" clId="Web-{A06FE6DD-2D03-2BB4-73BE-7C1796AB7446}" dt="2023-08-09T18:09:49.293" v="22"/>
          <ac:spMkLst>
            <pc:docMk/>
            <pc:sldMk cId="3204939884" sldId="3824"/>
            <ac:spMk id="5" creationId="{EECA607F-1629-0B42-AA27-507CA06124C2}"/>
          </ac:spMkLst>
        </pc:spChg>
        <pc:spChg chg="add mod">
          <ac:chgData name="Fernanda Santos" userId="S::fernanda.santos1@bayer.com::36ef5ae1-25c4-4eb0-a1f2-e7e23142c91e" providerId="AD" clId="Web-{A06FE6DD-2D03-2BB4-73BE-7C1796AB7446}" dt="2023-08-09T18:09:49.293" v="22"/>
          <ac:spMkLst>
            <pc:docMk/>
            <pc:sldMk cId="3204939884" sldId="3824"/>
            <ac:spMk id="7" creationId="{99EFC060-61B9-1CA2-82B2-702417986140}"/>
          </ac:spMkLst>
        </pc:spChg>
      </pc:sldChg>
    </pc:docChg>
  </pc:docChgLst>
  <pc:docChgLst>
    <pc:chgData name="Fernanda Santos" userId="S::fernanda.santos1@bayer.com::36ef5ae1-25c4-4eb0-a1f2-e7e23142c91e" providerId="AD" clId="Web-{AD5ED947-BEFE-6095-FCDF-D4A473A6090A}"/>
    <pc:docChg chg="addSld modSld sldOrd">
      <pc:chgData name="Fernanda Santos" userId="S::fernanda.santos1@bayer.com::36ef5ae1-25c4-4eb0-a1f2-e7e23142c91e" providerId="AD" clId="Web-{AD5ED947-BEFE-6095-FCDF-D4A473A6090A}" dt="2023-08-21T18:27:43.722" v="294" actId="20577"/>
      <pc:docMkLst>
        <pc:docMk/>
      </pc:docMkLst>
      <pc:sldChg chg="modSp">
        <pc:chgData name="Fernanda Santos" userId="S::fernanda.santos1@bayer.com::36ef5ae1-25c4-4eb0-a1f2-e7e23142c91e" providerId="AD" clId="Web-{AD5ED947-BEFE-6095-FCDF-D4A473A6090A}" dt="2023-08-21T12:44:58.790" v="34" actId="20577"/>
        <pc:sldMkLst>
          <pc:docMk/>
          <pc:sldMk cId="938327013" sldId="3808"/>
        </pc:sldMkLst>
        <pc:spChg chg="mod">
          <ac:chgData name="Fernanda Santos" userId="S::fernanda.santos1@bayer.com::36ef5ae1-25c4-4eb0-a1f2-e7e23142c91e" providerId="AD" clId="Web-{AD5ED947-BEFE-6095-FCDF-D4A473A6090A}" dt="2023-08-21T12:44:58.790" v="34" actId="20577"/>
          <ac:spMkLst>
            <pc:docMk/>
            <pc:sldMk cId="938327013" sldId="3808"/>
            <ac:spMk id="2" creationId="{00000000-0000-0000-0000-000000000000}"/>
          </ac:spMkLst>
        </pc:spChg>
      </pc:sldChg>
      <pc:sldChg chg="mod ord modShow">
        <pc:chgData name="Fernanda Santos" userId="S::fernanda.santos1@bayer.com::36ef5ae1-25c4-4eb0-a1f2-e7e23142c91e" providerId="AD" clId="Web-{AD5ED947-BEFE-6095-FCDF-D4A473A6090A}" dt="2023-08-21T17:22:49.740" v="120"/>
        <pc:sldMkLst>
          <pc:docMk/>
          <pc:sldMk cId="3112054074" sldId="3809"/>
        </pc:sldMkLst>
      </pc:sldChg>
      <pc:sldChg chg="modSp">
        <pc:chgData name="Fernanda Santos" userId="S::fernanda.santos1@bayer.com::36ef5ae1-25c4-4eb0-a1f2-e7e23142c91e" providerId="AD" clId="Web-{AD5ED947-BEFE-6095-FCDF-D4A473A6090A}" dt="2023-08-21T18:27:43.722" v="294" actId="20577"/>
        <pc:sldMkLst>
          <pc:docMk/>
          <pc:sldMk cId="3186312977" sldId="3810"/>
        </pc:sldMkLst>
        <pc:spChg chg="mod">
          <ac:chgData name="Fernanda Santos" userId="S::fernanda.santos1@bayer.com::36ef5ae1-25c4-4eb0-a1f2-e7e23142c91e" providerId="AD" clId="Web-{AD5ED947-BEFE-6095-FCDF-D4A473A6090A}" dt="2023-08-21T17:37:29.864" v="247" actId="1076"/>
          <ac:spMkLst>
            <pc:docMk/>
            <pc:sldMk cId="3186312977" sldId="3810"/>
            <ac:spMk id="2" creationId="{B184C22A-0115-49C2-9783-2B89A66DBE40}"/>
          </ac:spMkLst>
        </pc:spChg>
        <pc:spChg chg="mod">
          <ac:chgData name="Fernanda Santos" userId="S::fernanda.santos1@bayer.com::36ef5ae1-25c4-4eb0-a1f2-e7e23142c91e" providerId="AD" clId="Web-{AD5ED947-BEFE-6095-FCDF-D4A473A6090A}" dt="2023-08-21T18:27:43.722" v="294" actId="20577"/>
          <ac:spMkLst>
            <pc:docMk/>
            <pc:sldMk cId="3186312977" sldId="3810"/>
            <ac:spMk id="3" creationId="{01AE3188-A6F2-475B-A692-2E6720B51206}"/>
          </ac:spMkLst>
        </pc:spChg>
        <pc:spChg chg="mod">
          <ac:chgData name="Fernanda Santos" userId="S::fernanda.santos1@bayer.com::36ef5ae1-25c4-4eb0-a1f2-e7e23142c91e" providerId="AD" clId="Web-{AD5ED947-BEFE-6095-FCDF-D4A473A6090A}" dt="2023-08-21T17:37:07.847" v="245" actId="1076"/>
          <ac:spMkLst>
            <pc:docMk/>
            <pc:sldMk cId="3186312977" sldId="3810"/>
            <ac:spMk id="4" creationId="{7AF35AFA-6E19-4A81-8EB0-4B30741D7DA2}"/>
          </ac:spMkLst>
        </pc:spChg>
      </pc:sldChg>
      <pc:sldChg chg="addSp delSp modSp new">
        <pc:chgData name="Fernanda Santos" userId="S::fernanda.santos1@bayer.com::36ef5ae1-25c4-4eb0-a1f2-e7e23142c91e" providerId="AD" clId="Web-{AD5ED947-BEFE-6095-FCDF-D4A473A6090A}" dt="2023-08-21T17:23:09.225" v="124"/>
        <pc:sldMkLst>
          <pc:docMk/>
          <pc:sldMk cId="3548965282" sldId="3825"/>
        </pc:sldMkLst>
        <pc:spChg chg="del mod">
          <ac:chgData name="Fernanda Santos" userId="S::fernanda.santos1@bayer.com::36ef5ae1-25c4-4eb0-a1f2-e7e23142c91e" providerId="AD" clId="Web-{AD5ED947-BEFE-6095-FCDF-D4A473A6090A}" dt="2023-08-21T17:23:09.225" v="124"/>
          <ac:spMkLst>
            <pc:docMk/>
            <pc:sldMk cId="3548965282" sldId="3825"/>
            <ac:spMk id="2" creationId="{74D41B5D-F76C-A3E1-9570-174AAC01EE3B}"/>
          </ac:spMkLst>
        </pc:spChg>
        <pc:picChg chg="add mod">
          <ac:chgData name="Fernanda Santos" userId="S::fernanda.santos1@bayer.com::36ef5ae1-25c4-4eb0-a1f2-e7e23142c91e" providerId="AD" clId="Web-{AD5ED947-BEFE-6095-FCDF-D4A473A6090A}" dt="2023-08-21T12:43:57.864" v="2" actId="1076"/>
          <ac:picMkLst>
            <pc:docMk/>
            <pc:sldMk cId="3548965282" sldId="3825"/>
            <ac:picMk id="5" creationId="{03B3BE13-AD9D-EDBC-38B0-91C807189E11}"/>
          </ac:picMkLst>
        </pc:picChg>
      </pc:sldChg>
    </pc:docChg>
  </pc:docChgLst>
  <pc:docChgLst>
    <pc:chgData name="Fernanda Santos" userId="S::fernanda.santos1@bayer.com::36ef5ae1-25c4-4eb0-a1f2-e7e23142c91e" providerId="AD" clId="Web-{BEAF8350-1FB3-773C-BA6F-53B99C29159D}"/>
    <pc:docChg chg="modSld">
      <pc:chgData name="Fernanda Santos" userId="S::fernanda.santos1@bayer.com::36ef5ae1-25c4-4eb0-a1f2-e7e23142c91e" providerId="AD" clId="Web-{BEAF8350-1FB3-773C-BA6F-53B99C29159D}" dt="2023-08-09T14:07:08.775" v="1" actId="1076"/>
      <pc:docMkLst>
        <pc:docMk/>
      </pc:docMkLst>
      <pc:sldChg chg="modSp">
        <pc:chgData name="Fernanda Santos" userId="S::fernanda.santos1@bayer.com::36ef5ae1-25c4-4eb0-a1f2-e7e23142c91e" providerId="AD" clId="Web-{BEAF8350-1FB3-773C-BA6F-53B99C29159D}" dt="2023-08-09T14:07:08.775" v="1" actId="1076"/>
        <pc:sldMkLst>
          <pc:docMk/>
          <pc:sldMk cId="3112054074" sldId="3809"/>
        </pc:sldMkLst>
        <pc:picChg chg="mod">
          <ac:chgData name="Fernanda Santos" userId="S::fernanda.santos1@bayer.com::36ef5ae1-25c4-4eb0-a1f2-e7e23142c91e" providerId="AD" clId="Web-{BEAF8350-1FB3-773C-BA6F-53B99C29159D}" dt="2023-08-09T14:07:08.775" v="1" actId="1076"/>
          <ac:picMkLst>
            <pc:docMk/>
            <pc:sldMk cId="3112054074" sldId="3809"/>
            <ac:picMk id="5" creationId="{8937942D-3144-2145-597F-99969D90542E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DFB75D-FFDB-3941-87D9-865E0E9F03DD}" type="datetimeFigureOut">
              <a:rPr lang="en-US" smtClean="0"/>
              <a:t>8/2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7D0CEF-C8C9-2D43-8749-068F0A1E8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7732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BD2C90-BBA0-46EC-8B01-B5FB30F66FDA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9308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9C35F9-B5BE-2449-9A80-615C056A4D9F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889533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E05E62C5-E07F-4C9A-A0FE-DAF89F39BE2D}" type="datetimeFigureOut">
              <a:rPr lang="en-IN" smtClean="0"/>
              <a:t>21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48AA4-59B3-4E76-AB75-4D3137609B75}" type="slidenum">
              <a:rPr lang="en-IN" smtClean="0"/>
              <a:t>‹#›</a:t>
            </a:fld>
            <a:endParaRPr lang="en-IN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35689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E62C5-E07F-4C9A-A0FE-DAF89F39BE2D}" type="datetimeFigureOut">
              <a:rPr lang="en-IN" smtClean="0"/>
              <a:t>21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48AA4-59B3-4E76-AB75-4D3137609B7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2613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E62C5-E07F-4C9A-A0FE-DAF89F39BE2D}" type="datetimeFigureOut">
              <a:rPr lang="en-IN" smtClean="0"/>
              <a:t>21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48AA4-59B3-4E76-AB75-4D3137609B75}" type="slidenum">
              <a:rPr lang="en-IN" smtClean="0"/>
              <a:t>‹#›</a:t>
            </a:fld>
            <a:endParaRPr lang="en-IN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43547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9268C1-3555-40F0-9F50-FDE1FC183A0D}" type="datetime1">
              <a:rPr lang="en-US" smtClean="0"/>
              <a:t>8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4138928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F33C267-8000-477D-991A-6C15839D7000}" type="datetime1">
              <a:rPr lang="en-US" smtClean="0"/>
              <a:t>8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6885243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CDB9F33-836B-4915-B13C-79B01E209756}" type="datetime1">
              <a:rPr lang="en-US" smtClean="0"/>
              <a:t>8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074202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8FAAE86-FF76-44CC-A668-018373AE554F}" type="datetime1">
              <a:rPr lang="en-US" smtClean="0"/>
              <a:t>8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800" y="6617933"/>
            <a:ext cx="5711408" cy="108000"/>
          </a:xfrm>
        </p:spPr>
        <p:txBody>
          <a:bodyPr/>
          <a:lstStyle/>
          <a:p>
            <a:r>
              <a:rPr lang="en-US"/>
              <a:t>/// Bayer 16:9 Template /// June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923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29843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849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D638D7-8796-4CCC-8CE6-AEAD9E04E798}" type="datetime1">
              <a:rPr lang="en-US" smtClean="0"/>
              <a:t>8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988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10185" y="1473903"/>
            <a:ext cx="4140539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724" y="1"/>
            <a:ext cx="2593848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144735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674" y="0"/>
            <a:ext cx="645132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4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D080DD9-49B8-4603-936C-6A08F0541BA0}" type="datetime1">
              <a:rPr lang="en-US" smtClean="0"/>
              <a:t>8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0499843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59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67E0C7B-342B-4B60-BBFA-D89E1406DD42}" type="datetime1">
              <a:rPr lang="en-US" smtClean="0"/>
              <a:t>8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07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81829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240F759-6C5A-4A96-885E-3AC3B4871ADC}" type="datetime1">
              <a:rPr lang="en-US" smtClean="0"/>
              <a:t>8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8" y="1732751"/>
            <a:ext cx="10799867" cy="475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249964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E62C5-E07F-4C9A-A0FE-DAF89F39BE2D}" type="datetimeFigureOut">
              <a:rPr lang="en-IN" smtClean="0"/>
              <a:t>21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48AA4-59B3-4E76-AB75-4D3137609B7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542766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CC9A96C-B18F-4A61-9FE9-4BC0ED17C09C}" type="datetime1">
              <a:rPr lang="en-US" smtClean="0"/>
              <a:t>8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948" y="1732750"/>
            <a:ext cx="522068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60457" y="1732750"/>
            <a:ext cx="522068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5388093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4ACC3FA-741F-4DD7-A29C-E85845E74CE5}" type="datetime1">
              <a:rPr lang="en-US" smtClean="0"/>
              <a:t>8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948" y="3892750"/>
            <a:ext cx="5220680" cy="259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60573" y="3892750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948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60573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198746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9B50E6-EFC3-4D55-B5FD-6C07B3F1809C}" type="datetime1">
              <a:rPr lang="en-US" smtClean="0"/>
              <a:t>8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7715134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  <p15:guide id="15" orient="horz" pos="247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0EA7F3AE-922E-4A2E-A184-1A6BB453B592}" type="datetime1">
              <a:rPr lang="en-US" smtClean="0"/>
              <a:t>8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044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37489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704">
          <p15:clr>
            <a:srgbClr val="FBAE40"/>
          </p15:clr>
        </p15:guide>
        <p15:guide id="5" orient="horz" pos="2478">
          <p15:clr>
            <a:srgbClr val="FBAE40"/>
          </p15:clr>
        </p15:guide>
        <p15:guide id="6" orient="horz" pos="4086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pos="2150">
          <p15:clr>
            <a:srgbClr val="FBAE40"/>
          </p15:clr>
        </p15:guide>
        <p15:guide id="9" pos="2376">
          <p15:clr>
            <a:srgbClr val="FBAE40"/>
          </p15:clr>
        </p15:guide>
        <p15:guide id="10" pos="3908">
          <p15:clr>
            <a:srgbClr val="FBAE40"/>
          </p15:clr>
        </p15:guide>
        <p15:guide id="11" pos="4021">
          <p15:clr>
            <a:srgbClr val="FBAE40"/>
          </p15:clr>
        </p15:guide>
        <p15:guide id="12" pos="4134">
          <p15:clr>
            <a:srgbClr val="FBAE40"/>
          </p15:clr>
        </p15:guide>
        <p15:guide id="13" pos="5667">
          <p15:clr>
            <a:srgbClr val="FBAE40"/>
          </p15:clr>
        </p15:guide>
        <p15:guide id="14" pos="589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F5D252DB-0ED2-464E-8741-6A8F1AFB279A}" type="datetime1">
              <a:rPr lang="en-US" smtClean="0"/>
              <a:t>8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43807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478">
          <p15:clr>
            <a:srgbClr val="FBAE40"/>
          </p15:clr>
        </p15:guide>
        <p15:guide id="5" orient="horz" pos="2591">
          <p15:clr>
            <a:srgbClr val="FBAE40"/>
          </p15:clr>
        </p15:guide>
        <p15:guide id="6" orient="horz" pos="2704">
          <p15:clr>
            <a:srgbClr val="FBAE40"/>
          </p15:clr>
        </p15:guide>
        <p15:guide id="7" orient="horz" pos="4085">
          <p15:clr>
            <a:srgbClr val="FBAE40"/>
          </p15:clr>
        </p15:guide>
        <p15:guide id="8" pos="2150">
          <p15:clr>
            <a:srgbClr val="FBAE40"/>
          </p15:clr>
        </p15:guide>
        <p15:guide id="9" pos="2376">
          <p15:clr>
            <a:srgbClr val="FBAE40"/>
          </p15:clr>
        </p15:guide>
        <p15:guide id="10" pos="3908">
          <p15:clr>
            <a:srgbClr val="FBAE40"/>
          </p15:clr>
        </p15:guide>
        <p15:guide id="11" pos="4021">
          <p15:clr>
            <a:srgbClr val="FBAE40"/>
          </p15:clr>
        </p15:guide>
        <p15:guide id="12" pos="4134">
          <p15:clr>
            <a:srgbClr val="FBAE40"/>
          </p15:clr>
        </p15:guide>
        <p15:guide id="14" pos="5667">
          <p15:clr>
            <a:srgbClr val="FBAE40"/>
          </p15:clr>
        </p15:guide>
        <p15:guide id="15" pos="589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410" y="1052513"/>
            <a:ext cx="10801406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CF3B6FA-5BE5-423F-AE86-D3FCA9B0BA1B}" type="datetime1">
              <a:rPr lang="en-US" smtClean="0"/>
              <a:t>8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283057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4D65EF7-0DB8-46AD-91BA-1361F976A2E5}" type="datetime1">
              <a:rPr lang="en-US" smtClean="0"/>
              <a:t>8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482973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1DAC8AC-69B9-434F-A771-029EB0ECF11E}" type="datetime1">
              <a:rPr lang="en-US" smtClean="0"/>
              <a:t>8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9729397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3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576CC04-5BC7-4D90-881D-F4830D1A1CA8}" type="datetime1">
              <a:rPr lang="en-US" smtClean="0"/>
              <a:t>8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0828736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2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2804E57-7BF7-4369-9EB4-F1EAB6B023F9}" type="datetime1">
              <a:rPr lang="en-US" smtClean="0"/>
              <a:t>8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196119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E62C5-E07F-4C9A-A0FE-DAF89F39BE2D}" type="datetimeFigureOut">
              <a:rPr lang="en-IN" smtClean="0"/>
              <a:t>21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48AA4-59B3-4E76-AB75-4D3137609B75}" type="slidenum">
              <a:rPr lang="en-IN" smtClean="0"/>
              <a:t>‹#›</a:t>
            </a:fld>
            <a:endParaRPr lang="en-IN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5202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2354362-6B9A-4BB9-B511-F0F1CCE48625}" type="datetime1">
              <a:rPr lang="en-US" smtClean="0"/>
              <a:t>8/21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44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C87ED73-5D40-476B-8CDD-153A8169D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27219" y="6617933"/>
            <a:ext cx="8641125" cy="108000"/>
          </a:xfrm>
        </p:spPr>
        <p:txBody>
          <a:bodyPr/>
          <a:lstStyle/>
          <a:p>
            <a:r>
              <a:rPr lang="en-US"/>
              <a:t>/// Bayer Business Consulting - NOVA Change Proposal /// January 2020</a:t>
            </a:r>
          </a:p>
        </p:txBody>
      </p:sp>
    </p:spTree>
    <p:extLst>
      <p:ext uri="{BB962C8B-B14F-4D97-AF65-F5344CB8AC3E}">
        <p14:creationId xmlns:p14="http://schemas.microsoft.com/office/powerpoint/2010/main" val="6982825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6F1B4F-D08B-5D40-907A-516742C7C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CD1040-98FC-C448-BC67-19BDB78AFE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010314-A41E-2C4E-89BD-FDE833442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C9DA5E-4CF8-4D45-854D-2679A24FA11D}" type="datetimeFigureOut">
              <a:rPr lang="en-US" smtClean="0"/>
              <a:t>8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96FF10-7689-A64D-A009-057AF051E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8910D0-7D8F-E242-B81B-D077F3C8B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A86CC-0A18-C146-AD03-318AD0A461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519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E62C5-E07F-4C9A-A0FE-DAF89F39BE2D}" type="datetimeFigureOut">
              <a:rPr lang="en-IN" smtClean="0"/>
              <a:t>21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48AA4-59B3-4E76-AB75-4D3137609B7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390224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E62C5-E07F-4C9A-A0FE-DAF89F39BE2D}" type="datetimeFigureOut">
              <a:rPr lang="en-IN" smtClean="0"/>
              <a:t>21-08-2023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48AA4-59B3-4E76-AB75-4D3137609B7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981647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E62C5-E07F-4C9A-A0FE-DAF89F39BE2D}" type="datetimeFigureOut">
              <a:rPr lang="en-IN" smtClean="0"/>
              <a:t>21-08-202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48AA4-59B3-4E76-AB75-4D3137609B7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596642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E62C5-E07F-4C9A-A0FE-DAF89F39BE2D}" type="datetimeFigureOut">
              <a:rPr lang="en-IN" smtClean="0"/>
              <a:t>21-08-2023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48AA4-59B3-4E76-AB75-4D3137609B7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812569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E62C5-E07F-4C9A-A0FE-DAF89F39BE2D}" type="datetimeFigureOut">
              <a:rPr lang="en-IN" smtClean="0"/>
              <a:t>21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48AA4-59B3-4E76-AB75-4D3137609B7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354753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E62C5-E07F-4C9A-A0FE-DAF89F39BE2D}" type="datetimeFigureOut">
              <a:rPr lang="en-IN" smtClean="0"/>
              <a:t>21-08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48AA4-59B3-4E76-AB75-4D3137609B75}" type="slidenum">
              <a:rPr lang="en-IN" smtClean="0"/>
              <a:t>‹#›</a:t>
            </a:fld>
            <a:endParaRPr lang="en-IN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99619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E05E62C5-E07F-4C9A-A0FE-DAF89F39BE2D}" type="datetimeFigureOut">
              <a:rPr lang="en-IN" smtClean="0"/>
              <a:t>21-08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A6B48AA4-59B3-4E76-AB75-4D3137609B75}" type="slidenum">
              <a:rPr lang="en-IN" smtClean="0"/>
              <a:t>‹#›</a:t>
            </a:fld>
            <a:endParaRPr lang="en-IN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SIPCMContentMarking" descr="{&quot;HashCode&quot;:-242339457,&quot;Placement&quot;:&quot;Footer&quot;}">
            <a:extLst>
              <a:ext uri="{FF2B5EF4-FFF2-40B4-BE49-F238E27FC236}">
                <a16:creationId xmlns:a16="http://schemas.microsoft.com/office/drawing/2014/main" id="{5384977A-90E0-41CA-B739-506E1BD61F8E}"/>
              </a:ext>
            </a:extLst>
          </p:cNvPr>
          <p:cNvSpPr txBox="1"/>
          <p:nvPr userDrawn="1"/>
        </p:nvSpPr>
        <p:spPr>
          <a:xfrm>
            <a:off x="10318885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778208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409" y="1732751"/>
            <a:ext cx="10801406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8E91F6B7-D9DD-40B9-8E0F-7B4E75E5DBFB}" type="datetime1">
              <a:rPr lang="en-US" smtClean="0"/>
              <a:t>8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June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empower - DO NOT DELETE!!!" hidden="1"/>
          <p:cNvSpPr/>
          <p:nvPr userDrawn="1">
            <p:custDataLst>
              <p:tags r:id="rId2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  <p:sp>
        <p:nvSpPr>
          <p:cNvPr id="9" name="MSIPCMContentMarking" descr="{&quot;HashCode&quot;:-242339457,&quot;Placement&quot;:&quot;Footer&quot;}">
            <a:extLst>
              <a:ext uri="{FF2B5EF4-FFF2-40B4-BE49-F238E27FC236}">
                <a16:creationId xmlns:a16="http://schemas.microsoft.com/office/drawing/2014/main" id="{F95CCB6B-E62C-45A2-86C3-6FB38466C825}"/>
              </a:ext>
            </a:extLst>
          </p:cNvPr>
          <p:cNvSpPr txBox="1"/>
          <p:nvPr userDrawn="1"/>
        </p:nvSpPr>
        <p:spPr bwMode="gray">
          <a:xfrm>
            <a:off x="10318885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en-US" sz="2200" err="1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0106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2" r:id="rId20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app.mural.co/t/ktlatam1725/m/ktlatam1725/1691598489973/63e8384b1c00cc721d9175e6ef559a51c04f49be?sender=u0a264e4c6ac0c821b9591597" TargetMode="Externa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Arial Unicode MS"/>
                <a:cs typeface="Arial"/>
              </a:rPr>
              <a:t>/// Bayer 16:9 Template /// June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Arial Unicode MS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1479" y="2821426"/>
            <a:ext cx="5676602" cy="1440000"/>
          </a:xfrm>
        </p:spPr>
        <p:txBody>
          <a:bodyPr/>
          <a:lstStyle/>
          <a:p>
            <a:r>
              <a:rPr lang="en-US" i="0">
                <a:solidFill>
                  <a:schemeClr val="accent2"/>
                </a:solidFill>
              </a:rPr>
              <a:t> Sprint 2 Review</a:t>
            </a:r>
            <a:br>
              <a:rPr lang="en-US" i="0">
                <a:solidFill>
                  <a:schemeClr val="accent2"/>
                </a:solidFill>
              </a:rPr>
            </a:br>
            <a:r>
              <a:rPr lang="en-US" i="0">
                <a:solidFill>
                  <a:schemeClr val="accent2"/>
                </a:solidFill>
              </a:rPr>
              <a:t>07/August-18/</a:t>
            </a:r>
            <a:r>
              <a:rPr lang="en-US" i="0" err="1">
                <a:solidFill>
                  <a:schemeClr val="accent2"/>
                </a:solidFill>
              </a:rPr>
              <a:t>Augut</a:t>
            </a:r>
            <a:r>
              <a:rPr lang="en-US" i="0">
                <a:solidFill>
                  <a:schemeClr val="accent2"/>
                </a:solidFill>
              </a:rPr>
              <a:t> </a:t>
            </a:r>
            <a:br>
              <a:rPr lang="en-US" i="0">
                <a:solidFill>
                  <a:schemeClr val="accent2"/>
                </a:solidFill>
              </a:rPr>
            </a:br>
            <a:endParaRPr lang="en-US" i="0">
              <a:solidFill>
                <a:schemeClr val="accent2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6788617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087026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 bwMode="gray">
          <a:xfrm flipH="1">
            <a:off x="9567516" y="-724"/>
            <a:ext cx="1253994" cy="646477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btitle 12"/>
          <p:cNvSpPr>
            <a:spLocks noGrp="1"/>
          </p:cNvSpPr>
          <p:nvPr>
            <p:ph type="subTitle" idx="1"/>
          </p:nvPr>
        </p:nvSpPr>
        <p:spPr>
          <a:xfrm>
            <a:off x="243115" y="1674262"/>
            <a:ext cx="4590144" cy="592952"/>
          </a:xfrm>
        </p:spPr>
        <p:txBody>
          <a:bodyPr/>
          <a:lstStyle/>
          <a:p>
            <a:r>
              <a:rPr lang="en-US" sz="3200"/>
              <a:t>Continenta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856924" y="4040904"/>
            <a:ext cx="1037061" cy="654406"/>
          </a:xfrm>
        </p:spPr>
        <p:txBody>
          <a:bodyPr vert="horz" lIns="0" tIns="0" rIns="0" bIns="0" rtlCol="0" anchor="t">
            <a:noAutofit/>
          </a:bodyPr>
          <a:lstStyle/>
          <a:p>
            <a:pPr lvl="1"/>
            <a:r>
              <a:rPr lang="en-US"/>
              <a:t>August 2023</a:t>
            </a:r>
            <a:br>
              <a:rPr lang="en-US"/>
            </a:br>
            <a:br>
              <a:rPr lang="en-US"/>
            </a:br>
            <a:endParaRPr lang="en-US"/>
          </a:p>
        </p:txBody>
      </p:sp>
      <p:pic>
        <p:nvPicPr>
          <p:cNvPr id="14" name="Bildplatzhalter 8">
            <a:extLst>
              <a:ext uri="{FF2B5EF4-FFF2-40B4-BE49-F238E27FC236}">
                <a16:creationId xmlns:a16="http://schemas.microsoft.com/office/drawing/2014/main" id="{87C24541-67D9-400E-B652-5724F82A38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69" r="12769"/>
          <a:stretch>
            <a:fillRect/>
          </a:stretch>
        </p:blipFill>
        <p:spPr>
          <a:xfrm>
            <a:off x="4107527" y="-724"/>
            <a:ext cx="4110694" cy="6857999"/>
          </a:xfrm>
          <a:custGeom>
            <a:avLst/>
            <a:gdLst>
              <a:gd name="connsiteX0" fmla="*/ 1296899 w 4024452"/>
              <a:gd name="connsiteY0" fmla="*/ 0 h 6714119"/>
              <a:gd name="connsiteX1" fmla="*/ 4022072 w 4024452"/>
              <a:gd name="connsiteY1" fmla="*/ 0 h 6714119"/>
              <a:gd name="connsiteX2" fmla="*/ 4024452 w 4024452"/>
              <a:gd name="connsiteY2" fmla="*/ 6003673 h 6714119"/>
              <a:gd name="connsiteX3" fmla="*/ 0 w 4024452"/>
              <a:gd name="connsiteY3" fmla="*/ 6714119 h 6714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4452" h="6714119">
                <a:moveTo>
                  <a:pt x="1296899" y="0"/>
                </a:moveTo>
                <a:lnTo>
                  <a:pt x="4022072" y="0"/>
                </a:lnTo>
                <a:cubicBezTo>
                  <a:pt x="4022072" y="1913118"/>
                  <a:pt x="4024452" y="4090555"/>
                  <a:pt x="4024452" y="6003673"/>
                </a:cubicBezTo>
                <a:lnTo>
                  <a:pt x="0" y="6714119"/>
                </a:lnTo>
                <a:close/>
              </a:path>
            </a:pathLst>
          </a:custGeom>
        </p:spPr>
      </p:pic>
      <p:pic>
        <p:nvPicPr>
          <p:cNvPr id="20" name="Bildplatzhalter 10">
            <a:extLst>
              <a:ext uri="{FF2B5EF4-FFF2-40B4-BE49-F238E27FC236}">
                <a16:creationId xmlns:a16="http://schemas.microsoft.com/office/drawing/2014/main" id="{B0A9976A-56C1-40A5-BEB5-3BF5F4C691D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4" r="23944"/>
          <a:stretch/>
        </p:blipFill>
        <p:spPr>
          <a:xfrm>
            <a:off x="6804906" y="16545"/>
            <a:ext cx="4100343" cy="6840731"/>
          </a:xfrm>
          <a:custGeom>
            <a:avLst/>
            <a:gdLst>
              <a:gd name="connsiteX0" fmla="*/ 1296899 w 4024452"/>
              <a:gd name="connsiteY0" fmla="*/ 0 h 6714119"/>
              <a:gd name="connsiteX1" fmla="*/ 4022072 w 4024452"/>
              <a:gd name="connsiteY1" fmla="*/ 0 h 6714119"/>
              <a:gd name="connsiteX2" fmla="*/ 4024452 w 4024452"/>
              <a:gd name="connsiteY2" fmla="*/ 6003673 h 6714119"/>
              <a:gd name="connsiteX3" fmla="*/ 0 w 4024452"/>
              <a:gd name="connsiteY3" fmla="*/ 6714119 h 6714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4452" h="6714119">
                <a:moveTo>
                  <a:pt x="1296899" y="0"/>
                </a:moveTo>
                <a:lnTo>
                  <a:pt x="4022072" y="0"/>
                </a:lnTo>
                <a:cubicBezTo>
                  <a:pt x="4022072" y="1913118"/>
                  <a:pt x="4024452" y="4090555"/>
                  <a:pt x="4024452" y="6003673"/>
                </a:cubicBezTo>
                <a:lnTo>
                  <a:pt x="0" y="6714119"/>
                </a:lnTo>
                <a:close/>
              </a:path>
            </a:pathLst>
          </a:custGeom>
        </p:spPr>
      </p:pic>
      <p:pic>
        <p:nvPicPr>
          <p:cNvPr id="16" name="Bildplatzhalter 11">
            <a:extLst>
              <a:ext uri="{FF2B5EF4-FFF2-40B4-BE49-F238E27FC236}">
                <a16:creationId xmlns:a16="http://schemas.microsoft.com/office/drawing/2014/main" id="{70CB25F1-D3E6-4753-A695-8C68819B6E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64" r="15664"/>
          <a:stretch>
            <a:fillRect/>
          </a:stretch>
        </p:blipFill>
        <p:spPr>
          <a:xfrm>
            <a:off x="9431763" y="-724"/>
            <a:ext cx="2759136" cy="684073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383270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49D2A9-AEBB-EBF6-8C82-1AB42FFAD1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A31A48-D399-E7EA-F268-2735EB3117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Business Consulting - NOVA Change Proposal /// January 202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B3BE13-AD9D-EDBC-38B0-91C807189E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852" y="1182655"/>
            <a:ext cx="2743200" cy="2870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9652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84C22A-0115-49C2-9783-2B89A66DB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978" y="4828830"/>
            <a:ext cx="9720072" cy="1499616"/>
          </a:xfrm>
        </p:spPr>
        <p:txBody>
          <a:bodyPr/>
          <a:lstStyle/>
          <a:p>
            <a:pPr algn="ctr"/>
            <a:r>
              <a:rPr lang="en-US"/>
              <a:t>Thank you</a:t>
            </a:r>
            <a:endParaRPr lang="en-IN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1AE3188-A6F2-475B-A692-2E6720B51206}"/>
              </a:ext>
            </a:extLst>
          </p:cNvPr>
          <p:cNvSpPr txBox="1"/>
          <p:nvPr/>
        </p:nvSpPr>
        <p:spPr>
          <a:xfrm>
            <a:off x="3487964" y="1775278"/>
            <a:ext cx="5044797" cy="39703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Cloud Services</a:t>
            </a:r>
          </a:p>
          <a:p>
            <a:pPr marL="800100" lvl="1" indent="-342900">
              <a:buAutoNum type="alphaLcPeriod"/>
            </a:pPr>
            <a:r>
              <a:rPr lang="en-US" dirty="0">
                <a:ea typeface="+mn-lt"/>
                <a:cs typeface="+mn-lt"/>
              </a:rPr>
              <a:t>MJV</a:t>
            </a:r>
          </a:p>
          <a:p>
            <a:pPr lvl="1"/>
            <a:endParaRPr lang="en-US">
              <a:ea typeface="+mn-lt"/>
              <a:cs typeface="+mn-lt"/>
            </a:endParaRPr>
          </a:p>
          <a:p>
            <a:pPr marL="342900" indent="-342900">
              <a:buAutoNum type="arabicPeriod"/>
            </a:pPr>
            <a:r>
              <a:rPr lang="en-US" dirty="0">
                <a:ea typeface="+mn-lt"/>
                <a:cs typeface="+mn-lt"/>
              </a:rPr>
              <a:t>Full Stack</a:t>
            </a:r>
          </a:p>
          <a:p>
            <a:pPr marL="800100" lvl="1" indent="-342900">
              <a:buAutoNum type="alphaLcPeriod"/>
            </a:pPr>
            <a:r>
              <a:rPr lang="en-US" dirty="0">
                <a:latin typeface="Tw Cen MT" panose="020B0602020104020603"/>
              </a:rPr>
              <a:t>Smit</a:t>
            </a:r>
            <a:r>
              <a:rPr lang="en-US" dirty="0"/>
              <a:t> &amp; Joe</a:t>
            </a:r>
          </a:p>
          <a:p>
            <a:pPr marL="800100" lvl="1" indent="-342900">
              <a:buAutoNum type="alphaLcPeriod"/>
            </a:pPr>
            <a:endParaRPr lang="en-US"/>
          </a:p>
          <a:p>
            <a:pPr marL="342900" indent="-342900">
              <a:buAutoNum type="arabicPeriod"/>
            </a:pPr>
            <a:r>
              <a:rPr lang="en-US" dirty="0"/>
              <a:t>Decision Science</a:t>
            </a:r>
          </a:p>
          <a:p>
            <a:pPr marL="800100" lvl="1" indent="-342900">
              <a:buAutoNum type="alphaLcPeriod"/>
            </a:pPr>
            <a:r>
              <a:rPr lang="en-US" dirty="0"/>
              <a:t>Yang &amp; Nicki</a:t>
            </a:r>
          </a:p>
          <a:p>
            <a:pPr lvl="1"/>
            <a:endParaRPr lang="en-US" dirty="0"/>
          </a:p>
          <a:p>
            <a:pPr marL="800100" lvl="1" indent="-342900">
              <a:buAutoNum type="alphaLcParenR"/>
            </a:pPr>
            <a:endParaRPr lang="en-US"/>
          </a:p>
          <a:p>
            <a:pPr lvl="1"/>
            <a:endParaRPr lang="en-US"/>
          </a:p>
          <a:p>
            <a:pPr marL="800100" lvl="1" indent="-342900">
              <a:buAutoNum type="alphaLcPeriod"/>
            </a:pPr>
            <a:endParaRPr lang="en-US"/>
          </a:p>
          <a:p>
            <a:pPr marL="342900" indent="-342900">
              <a:buAutoNum type="arabicPeriod"/>
            </a:pPr>
            <a:endParaRPr lang="en-US"/>
          </a:p>
          <a:p>
            <a:pPr marL="342900" indent="-342900">
              <a:buAutoNum type="arabicPeriod"/>
            </a:pP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AF35AFA-6E19-4A81-8EB0-4B30741D7DA2}"/>
              </a:ext>
            </a:extLst>
          </p:cNvPr>
          <p:cNvSpPr txBox="1">
            <a:spLocks/>
          </p:cNvSpPr>
          <p:nvPr/>
        </p:nvSpPr>
        <p:spPr>
          <a:xfrm>
            <a:off x="712978" y="384520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/>
              <a:t>Demo - Q&amp;A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863129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9AD35-14FC-82FA-54FB-6CF65790B3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S Demo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3E671B-AE6E-57A9-DDB3-03D8143A6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June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1AEE9-D20F-7D3A-E7D0-97FDDFA0C5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4F44A1C-303F-A71D-2723-51CF845AFC0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9879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625E5E-44C9-A84E-8DF6-4C13433BB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5272" y="322712"/>
            <a:ext cx="10798460" cy="864000"/>
          </a:xfrm>
        </p:spPr>
        <p:txBody>
          <a:bodyPr/>
          <a:lstStyle/>
          <a:p>
            <a:r>
              <a:rPr lang="en-US" sz="2800"/>
              <a:t>Continental – </a:t>
            </a:r>
            <a:r>
              <a:rPr lang="en-US" b="1"/>
              <a:t>Completed work items</a:t>
            </a:r>
            <a:br>
              <a:rPr lang="en-US"/>
            </a:br>
            <a:endParaRPr lang="en-US"/>
          </a:p>
        </p:txBody>
      </p:sp>
      <p:pic>
        <p:nvPicPr>
          <p:cNvPr id="13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C0A15F12-1457-AA43-BF2E-50DEE984E3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077" t="14105" r="26833" b="7448"/>
          <a:stretch/>
        </p:blipFill>
        <p:spPr>
          <a:xfrm>
            <a:off x="9717090" y="111202"/>
            <a:ext cx="2372558" cy="3254953"/>
          </a:xfrm>
          <a:prstGeom prst="rect">
            <a:avLst/>
          </a:prstGeom>
        </p:spPr>
      </p:pic>
      <p:pic>
        <p:nvPicPr>
          <p:cNvPr id="14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57EFBB80-C731-2EE0-AB90-61DA994FA63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4015" t="19255" r="26997" b="5479"/>
          <a:stretch/>
        </p:blipFill>
        <p:spPr>
          <a:xfrm>
            <a:off x="9715238" y="3356571"/>
            <a:ext cx="2364303" cy="3122922"/>
          </a:xfrm>
          <a:prstGeom prst="rect">
            <a:avLst/>
          </a:prstGeom>
        </p:spPr>
      </p:pic>
      <p:pic>
        <p:nvPicPr>
          <p:cNvPr id="5" name="Picture 6" descr="A screenshot of a graph&#10;&#10;Description automatically generated">
            <a:extLst>
              <a:ext uri="{FF2B5EF4-FFF2-40B4-BE49-F238E27FC236}">
                <a16:creationId xmlns:a16="http://schemas.microsoft.com/office/drawing/2014/main" id="{8937942D-3144-2145-597F-99969D9054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6641" y="752496"/>
            <a:ext cx="9289142" cy="5649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0540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0259A-DFB7-1522-E368-FA07FB0D0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8171" y="2989334"/>
            <a:ext cx="2769757" cy="515467"/>
          </a:xfrm>
        </p:spPr>
        <p:txBody>
          <a:bodyPr/>
          <a:lstStyle/>
          <a:p>
            <a:r>
              <a:rPr lang="en-US" sz="800" i="0">
                <a:solidFill>
                  <a:srgbClr val="FFFFFF"/>
                </a:solidFill>
                <a:ea typeface="+mj-lt"/>
                <a:cs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tinental • KT LATAM (mural.co)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6F3324-5CC8-F01D-AE79-65C7964C4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June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9C9636-8CE5-2E4C-433D-CC14E89599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99EFC060-61B9-1CA2-82B2-70241798614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9398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8"/>
  <p:tag name="MIO_HDS" val="True"/>
  <p:tag name="MIO_SKIPVERSION" val="01.01.0001 00:00:00"/>
  <p:tag name="MIO_EKGUID" val="106612b7-7cda-4c66-a943-3c88b56a92d2"/>
  <p:tag name="MIO_UPDATE" val="True"/>
  <p:tag name="MIO_VERSION" val="27.11.2018 09:18:57"/>
  <p:tag name="MIO_DBID" val="8E7267AE-489F-4B02-8040-8A98451BF141"/>
  <p:tag name="MIO_LASTDOWNLOADED" val="24.09.2019 14:19:31"/>
  <p:tag name="MIO_OBJECTNAME" val="Master Bayer AG 16:9"/>
  <p:tag name="MIO_CDID" val="cd9a71c7-8ed9-41a1-8303-1a6d1985851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2.xml><?xml version="1.0" encoding="utf-8"?>
<a:theme xmlns:a="http://schemas.openxmlformats.org/drawingml/2006/main" name="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Default Theme.pptx" id="{4ED38DDB-431F-41AA-9AEB-A81A48196FDF}" vid="{35444171-34F1-4230-9E8E-5C9A3704EF3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 xsi:nil="true"/>
    <lcf76f155ced4ddcb4097134ff3c332f xmlns="459fccb6-17e4-48ec-99bb-75ec73d96e90">
      <Terms xmlns="http://schemas.microsoft.com/office/infopath/2007/PartnerControls"/>
    </lcf76f155ced4ddcb4097134ff3c332f>
    <SharedWithUsers xmlns="efb01187-b959-4cf8-9778-d26300174797">
      <UserInfo>
        <DisplayName/>
        <AccountId xsi:nil="true"/>
        <AccountType/>
      </UserInfo>
    </SharedWithUsers>
    <_dlc_ExpireDateSaved xmlns="http://schemas.microsoft.com/sharepoint/v3" xsi:nil="true"/>
    <_dlc_ExpireDate xmlns="http://schemas.microsoft.com/sharepoint/v3" xsi:nil="true"/>
    <_dlc_Exempt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F70F97DB4FDD41907EF90156502D42" ma:contentTypeVersion="16" ma:contentTypeDescription="Create a new document." ma:contentTypeScope="" ma:versionID="88c508068aeddecc48a28a7be7232c55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459fccb6-17e4-48ec-99bb-75ec73d96e90" xmlns:ns4="efb01187-b959-4cf8-9778-d26300174797" targetNamespace="http://schemas.microsoft.com/office/2006/metadata/properties" ma:root="true" ma:fieldsID="60bdf54bc06b324663701ffbb4cf9f56" ns1:_="" ns2:_="" ns3:_="" ns4:_="">
    <xsd:import namespace="http://schemas.microsoft.com/sharepoint/v3"/>
    <xsd:import namespace="1a4d292e-883c-434b-96e3-060cfff16c86"/>
    <xsd:import namespace="459fccb6-17e4-48ec-99bb-75ec73d96e90"/>
    <xsd:import namespace="efb01187-b959-4cf8-9778-d26300174797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lcf76f155ced4ddcb4097134ff3c332f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  <xsd:element ref="ns3:MediaLengthInSeconds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empt from Policy" ma:hidden="true" ma:internalName="_dlc_Exempt" ma:readOnly="false">
      <xsd:simpleType>
        <xsd:restriction base="dms:Unknown"/>
      </xsd:simpleType>
    </xsd:element>
    <xsd:element name="_dlc_ExpireDateSaved" ma:index="11" nillable="true" ma:displayName="Original Expiration Date" ma:hidden="true" ma:internalName="_dlc_ExpireDateSaved" ma:readOnly="false">
      <xsd:simpleType>
        <xsd:restriction base="dms:DateTime"/>
      </xsd:simpleType>
    </xsd:element>
    <xsd:element name="_dlc_ExpireDate" ma:index="12" nillable="true" ma:displayName="Expiration Date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f23b4fda-1e26-43b4-9db5-c9cfd0a49949}" ma:internalName="TaxCatchAll" ma:showField="CatchAllData" ma:web="efb01187-b959-4cf8-9778-d2630017479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f23b4fda-1e26-43b4-9db5-c9cfd0a49949}" ma:internalName="TaxCatchAllLabel" ma:readOnly="true" ma:showField="CatchAllDataLabel" ma:web="efb01187-b959-4cf8-9778-d2630017479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9fccb6-17e4-48ec-99bb-75ec73d96e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7bc43322-b630-4bac-8b27-31def233d1d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24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b01187-b959-4cf8-9778-d26300174797" elementFormDefault="qualified">
    <xsd:import namespace="http://schemas.microsoft.com/office/2006/documentManagement/types"/>
    <xsd:import namespace="http://schemas.microsoft.com/office/infopath/2007/PartnerControls"/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7bc43322-b630-4bac-8b27-31def233d1d0" ContentTypeId="0x0101" PreviousValue="false"/>
</file>

<file path=customXml/itemProps1.xml><?xml version="1.0" encoding="utf-8"?>
<ds:datastoreItem xmlns:ds="http://schemas.openxmlformats.org/officeDocument/2006/customXml" ds:itemID="{9034752F-0881-4834-B69E-2A5887DC4C46}">
  <ds:schemaRefs>
    <ds:schemaRef ds:uri="1a4d292e-883c-434b-96e3-060cfff16c86"/>
    <ds:schemaRef ds:uri="459fccb6-17e4-48ec-99bb-75ec73d96e90"/>
    <ds:schemaRef ds:uri="4e6b5f53-195c-493b-82e0-4e76e2e8dc6d"/>
    <ds:schemaRef ds:uri="602c0aac-dcb4-4459-881b-6d249be17163"/>
    <ds:schemaRef ds:uri="efb01187-b959-4cf8-9778-d2630017479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452CA00-EE56-45B5-A687-8190277BE97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682F7D1-A2A2-49DF-8DFE-2235C8D08C91}">
  <ds:schemaRefs>
    <ds:schemaRef ds:uri="1a4d292e-883c-434b-96e3-060cfff16c86"/>
    <ds:schemaRef ds:uri="459fccb6-17e4-48ec-99bb-75ec73d96e90"/>
    <ds:schemaRef ds:uri="efb01187-b959-4cf8-9778-d2630017479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ECC375CF-4FE8-4E35-B4C0-F594E1A5EEF0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6</Slides>
  <Notes>2</Notes>
  <HiddenSlides>1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Integral</vt:lpstr>
      <vt:lpstr>PR_BAG_PPT-master_16-9</vt:lpstr>
      <vt:lpstr> Sprint 2 Review 07/August-18/Augut  </vt:lpstr>
      <vt:lpstr>PowerPoint Presentation</vt:lpstr>
      <vt:lpstr>Thank you</vt:lpstr>
      <vt:lpstr>DS Demo</vt:lpstr>
      <vt:lpstr>Continental – Completed work items </vt:lpstr>
      <vt:lpstr>Continental • KT LATAM (mural.co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rint 6 – Demo Screen shot</dc:title>
  <dc:creator>Arul Vinodh, Vargheese Michael (Cognizant)</dc:creator>
  <cp:revision>12</cp:revision>
  <dcterms:created xsi:type="dcterms:W3CDTF">2021-01-07T13:58:50Z</dcterms:created>
  <dcterms:modified xsi:type="dcterms:W3CDTF">2023-08-21T18:2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c76c141-ac86-40e5-abf2-c6f60e474cee_Enabled">
    <vt:lpwstr>True</vt:lpwstr>
  </property>
  <property fmtid="{D5CDD505-2E9C-101B-9397-08002B2CF9AE}" pid="3" name="MSIP_Label_2c76c141-ac86-40e5-abf2-c6f60e474cee_SiteId">
    <vt:lpwstr>fcb2b37b-5da0-466b-9b83-0014b67a7c78</vt:lpwstr>
  </property>
  <property fmtid="{D5CDD505-2E9C-101B-9397-08002B2CF9AE}" pid="4" name="MSIP_Label_2c76c141-ac86-40e5-abf2-c6f60e474cee_Owner">
    <vt:lpwstr>rakesh.verma.ext@bayer.com</vt:lpwstr>
  </property>
  <property fmtid="{D5CDD505-2E9C-101B-9397-08002B2CF9AE}" pid="5" name="MSIP_Label_2c76c141-ac86-40e5-abf2-c6f60e474cee_SetDate">
    <vt:lpwstr>2021-02-04T15:58:44.8129038Z</vt:lpwstr>
  </property>
  <property fmtid="{D5CDD505-2E9C-101B-9397-08002B2CF9AE}" pid="6" name="MSIP_Label_2c76c141-ac86-40e5-abf2-c6f60e474cee_Name">
    <vt:lpwstr>RESTRICTED</vt:lpwstr>
  </property>
  <property fmtid="{D5CDD505-2E9C-101B-9397-08002B2CF9AE}" pid="7" name="MSIP_Label_2c76c141-ac86-40e5-abf2-c6f60e474cee_Application">
    <vt:lpwstr>Microsoft Azure Information Protection</vt:lpwstr>
  </property>
  <property fmtid="{D5CDD505-2E9C-101B-9397-08002B2CF9AE}" pid="8" name="MSIP_Label_2c76c141-ac86-40e5-abf2-c6f60e474cee_Extended_MSFT_Method">
    <vt:lpwstr>Automatic</vt:lpwstr>
  </property>
  <property fmtid="{D5CDD505-2E9C-101B-9397-08002B2CF9AE}" pid="9" name="Sensitivity">
    <vt:lpwstr>RESTRICTED</vt:lpwstr>
  </property>
  <property fmtid="{D5CDD505-2E9C-101B-9397-08002B2CF9AE}" pid="10" name="ContentTypeId">
    <vt:lpwstr>0x0101007FF70F97DB4FDD41907EF90156502D42</vt:lpwstr>
  </property>
  <property fmtid="{D5CDD505-2E9C-101B-9397-08002B2CF9AE}" pid="11" name="MediaServiceImageTags">
    <vt:lpwstr/>
  </property>
  <property fmtid="{D5CDD505-2E9C-101B-9397-08002B2CF9AE}" pid="12" name="xd_ProgID">
    <vt:lpwstr/>
  </property>
  <property fmtid="{D5CDD505-2E9C-101B-9397-08002B2CF9AE}" pid="13" name="ComplianceAssetId">
    <vt:lpwstr/>
  </property>
  <property fmtid="{D5CDD505-2E9C-101B-9397-08002B2CF9AE}" pid="14" name="TemplateUrl">
    <vt:lpwstr/>
  </property>
  <property fmtid="{D5CDD505-2E9C-101B-9397-08002B2CF9AE}" pid="15" name="_ExtendedDescription">
    <vt:lpwstr/>
  </property>
  <property fmtid="{D5CDD505-2E9C-101B-9397-08002B2CF9AE}" pid="16" name="TriggerFlowInfo">
    <vt:lpwstr/>
  </property>
  <property fmtid="{D5CDD505-2E9C-101B-9397-08002B2CF9AE}" pid="17" name="xd_Signature">
    <vt:bool>false</vt:bool>
  </property>
</Properties>
</file>